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1"/>
  </p:notesMasterIdLst>
  <p:handoutMasterIdLst>
    <p:handoutMasterId r:id="rId12"/>
  </p:handoutMasterIdLst>
  <p:sldIdLst>
    <p:sldId id="311" r:id="rId4"/>
    <p:sldId id="340" r:id="rId5"/>
    <p:sldId id="363" r:id="rId6"/>
    <p:sldId id="364" r:id="rId7"/>
    <p:sldId id="365" r:id="rId8"/>
    <p:sldId id="329" r:id="rId9"/>
    <p:sldId id="349" r:id="rId10"/>
  </p:sldIdLst>
  <p:sldSz cx="9906000" cy="6858000" type="A4"/>
  <p:notesSz cx="6896100" cy="1003300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cratch-Game-Creation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242086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err="1" smtClean="0">
                <a:effectLst/>
                <a:latin typeface="Comic Sans MS"/>
              </a:rPr>
              <a:t>Tworzenie</a:t>
            </a:r>
            <a:r>
              <a:rPr lang="en-US" sz="4400" dirty="0" smtClean="0">
                <a:effectLst/>
                <a:latin typeface="Comic Sans MS"/>
              </a:rPr>
              <a:t> </a:t>
            </a:r>
            <a:r>
              <a:rPr lang="en-US" sz="4400" dirty="0" err="1" smtClean="0">
                <a:effectLst/>
                <a:latin typeface="Comic Sans MS"/>
              </a:rPr>
              <a:t>gier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84560" y="191679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uch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 aby duszki się poruszały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21603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ontakt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dź, czy 2 duszki dotykają się lub czy duszek dotyka pola w określonym kolorze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08480" y="2924930"/>
            <a:ext cx="2266950" cy="260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221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7170" y="3717040"/>
            <a:ext cx="2571750" cy="161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8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idoczność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każ lub schowaj duszka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as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dmierzaj czas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0685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68530" y="2564880"/>
            <a:ext cx="156210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7"/>
          <p:cNvSpPr>
            <a:spLocks noGrp="1"/>
          </p:cNvSpPr>
          <p:nvPr>
            <p:ph idx="4294967295"/>
          </p:nvPr>
        </p:nvSpPr>
        <p:spPr>
          <a:xfrm>
            <a:off x="2504660" y="3505981"/>
            <a:ext cx="4608640" cy="165125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osowość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generuj liczbę losową z danego zadanego przedziału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0790" y="5373270"/>
            <a:ext cx="23145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05160" y="2492870"/>
            <a:ext cx="23336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761390" y="422111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78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eksty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uj, zmieniaj słowa i zdania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nne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chowuj teksty i liczby w pamięci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4797190"/>
            <a:ext cx="1059180" cy="1143000"/>
          </a:xfrm>
          <a:prstGeom prst="rect">
            <a:avLst/>
          </a:prstGeom>
          <a:noFill/>
        </p:spPr>
      </p:pic>
      <p:pic>
        <p:nvPicPr>
          <p:cNvPr id="207875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56570" y="3068950"/>
            <a:ext cx="1924050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87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21190" y="2852920"/>
            <a:ext cx="2514600" cy="302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8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6562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ani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uj wartości aby podejmować decyzje w grze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ycisk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, aby duszek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eagwał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na przycisk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None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3140960"/>
            <a:ext cx="1059180" cy="1143000"/>
          </a:xfrm>
          <a:prstGeom prst="rect">
            <a:avLst/>
          </a:prstGeom>
          <a:noFill/>
        </p:spPr>
      </p:pic>
      <p:pic>
        <p:nvPicPr>
          <p:cNvPr id="20889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80490" y="3068950"/>
            <a:ext cx="1628775" cy="296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890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77170" y="3140960"/>
            <a:ext cx="2847975" cy="220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7</Words>
  <Application>Microsoft Office PowerPoint</Application>
  <PresentationFormat>A4 Paper (210x297 mm)</PresentationFormat>
  <Paragraphs>41</Paragraphs>
  <Slides>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Blank</vt:lpstr>
      <vt:lpstr>Closing slides</vt:lpstr>
      <vt:lpstr>Section break</vt:lpstr>
      <vt:lpstr>think-cell Slide</vt:lpstr>
      <vt:lpstr>           Tworzenie gier</vt:lpstr>
      <vt:lpstr>Bloki wykorzystywane w grach</vt:lpstr>
      <vt:lpstr>Bloki wykorzystywane w grach</vt:lpstr>
      <vt:lpstr>Bloki wykorzystywane w grach</vt:lpstr>
      <vt:lpstr>Bloki wykorzystywane w grach</vt:lpstr>
      <vt:lpstr>Slide 6</vt:lpstr>
      <vt:lpstr>Slide 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laszkiewicz</cp:lastModifiedBy>
  <cp:revision>85</cp:revision>
  <dcterms:created xsi:type="dcterms:W3CDTF">2014-10-21T19:55:20Z</dcterms:created>
  <dcterms:modified xsi:type="dcterms:W3CDTF">2014-11-27T13:03:02Z</dcterms:modified>
</cp:coreProperties>
</file>